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D99D83A-E877-4D41-899E-F6B2F311F511}" v="49" dt="2023-03-17T22:30:1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2" d="100"/>
          <a:sy n="112" d="100"/>
        </p:scale>
        <p:origin x="138" y="348"/>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FD99D83A-E877-4D41-899E-F6B2F311F511}"/>
    <pc:docChg chg="modSld">
      <pc:chgData name="Roberto Gallardo" userId="49a044883f185952" providerId="LiveId" clId="{FD99D83A-E877-4D41-899E-F6B2F311F511}" dt="2023-03-17T22:30:25.573" v="207" actId="1076"/>
      <pc:docMkLst>
        <pc:docMk/>
      </pc:docMkLst>
      <pc:sldChg chg="addSp modSp mod">
        <pc:chgData name="Roberto Gallardo" userId="49a044883f185952" providerId="LiveId" clId="{FD99D83A-E877-4D41-899E-F6B2F311F511}" dt="2023-03-17T22:25:21.680" v="8" actId="1076"/>
        <pc:sldMkLst>
          <pc:docMk/>
          <pc:sldMk cId="1418533539" sldId="271"/>
        </pc:sldMkLst>
        <pc:picChg chg="add mod">
          <ac:chgData name="Roberto Gallardo" userId="49a044883f185952" providerId="LiveId" clId="{FD99D83A-E877-4D41-899E-F6B2F311F511}" dt="2023-03-17T22:25:21.680" v="8" actId="1076"/>
          <ac:picMkLst>
            <pc:docMk/>
            <pc:sldMk cId="1418533539" sldId="271"/>
            <ac:picMk id="6" creationId="{EA390B84-DC40-0D25-DFD2-63E1654DC726}"/>
          </ac:picMkLst>
        </pc:picChg>
      </pc:sldChg>
      <pc:sldChg chg="addSp modSp mod">
        <pc:chgData name="Roberto Gallardo" userId="49a044883f185952" providerId="LiveId" clId="{FD99D83A-E877-4D41-899E-F6B2F311F511}" dt="2023-03-17T22:26:58.373" v="65" actId="1076"/>
        <pc:sldMkLst>
          <pc:docMk/>
          <pc:sldMk cId="2124848710" sldId="281"/>
        </pc:sldMkLst>
        <pc:picChg chg="add mod">
          <ac:chgData name="Roberto Gallardo" userId="49a044883f185952" providerId="LiveId" clId="{FD99D83A-E877-4D41-899E-F6B2F311F511}" dt="2023-03-17T22:26:58.373" v="65" actId="1076"/>
          <ac:picMkLst>
            <pc:docMk/>
            <pc:sldMk cId="2124848710" sldId="281"/>
            <ac:picMk id="6" creationId="{C7E3F31A-B2A0-B592-EB7E-F85B51CA0C9D}"/>
          </ac:picMkLst>
        </pc:picChg>
      </pc:sldChg>
      <pc:sldChg chg="addSp modSp mod">
        <pc:chgData name="Roberto Gallardo" userId="49a044883f185952" providerId="LiveId" clId="{FD99D83A-E877-4D41-899E-F6B2F311F511}" dt="2023-03-17T22:27:21.404" v="81" actId="1076"/>
        <pc:sldMkLst>
          <pc:docMk/>
          <pc:sldMk cId="2028175529" sldId="282"/>
        </pc:sldMkLst>
        <pc:picChg chg="add mod">
          <ac:chgData name="Roberto Gallardo" userId="49a044883f185952" providerId="LiveId" clId="{FD99D83A-E877-4D41-899E-F6B2F311F511}" dt="2023-03-17T22:27:21.404" v="81" actId="1076"/>
          <ac:picMkLst>
            <pc:docMk/>
            <pc:sldMk cId="2028175529" sldId="282"/>
            <ac:picMk id="7" creationId="{943DCA32-1B20-06E7-08F1-550BFCC8F95E}"/>
          </ac:picMkLst>
        </pc:picChg>
      </pc:sldChg>
      <pc:sldChg chg="addSp modSp mod">
        <pc:chgData name="Roberto Gallardo" userId="49a044883f185952" providerId="LiveId" clId="{FD99D83A-E877-4D41-899E-F6B2F311F511}" dt="2023-03-17T22:27:37.599" v="92" actId="1076"/>
        <pc:sldMkLst>
          <pc:docMk/>
          <pc:sldMk cId="1326517747" sldId="283"/>
        </pc:sldMkLst>
        <pc:picChg chg="add mod">
          <ac:chgData name="Roberto Gallardo" userId="49a044883f185952" providerId="LiveId" clId="{FD99D83A-E877-4D41-899E-F6B2F311F511}" dt="2023-03-17T22:27:37.599" v="92" actId="1076"/>
          <ac:picMkLst>
            <pc:docMk/>
            <pc:sldMk cId="1326517747" sldId="283"/>
            <ac:picMk id="7" creationId="{6A9C1686-7555-365D-577B-A4B495EC92BE}"/>
          </ac:picMkLst>
        </pc:picChg>
      </pc:sldChg>
      <pc:sldChg chg="addSp modSp mod">
        <pc:chgData name="Roberto Gallardo" userId="49a044883f185952" providerId="LiveId" clId="{FD99D83A-E877-4D41-899E-F6B2F311F511}" dt="2023-03-17T22:27:55.889" v="105" actId="1076"/>
        <pc:sldMkLst>
          <pc:docMk/>
          <pc:sldMk cId="783739251" sldId="284"/>
        </pc:sldMkLst>
        <pc:picChg chg="add mod">
          <ac:chgData name="Roberto Gallardo" userId="49a044883f185952" providerId="LiveId" clId="{FD99D83A-E877-4D41-899E-F6B2F311F511}" dt="2023-03-17T22:27:55.889" v="105" actId="1076"/>
          <ac:picMkLst>
            <pc:docMk/>
            <pc:sldMk cId="783739251" sldId="284"/>
            <ac:picMk id="7" creationId="{271C4023-FEB7-8DC7-9786-932202643FC4}"/>
          </ac:picMkLst>
        </pc:picChg>
      </pc:sldChg>
      <pc:sldChg chg="addSp modSp mod">
        <pc:chgData name="Roberto Gallardo" userId="49a044883f185952" providerId="LiveId" clId="{FD99D83A-E877-4D41-899E-F6B2F311F511}" dt="2023-03-17T22:28:09.392" v="114" actId="1076"/>
        <pc:sldMkLst>
          <pc:docMk/>
          <pc:sldMk cId="1676122233" sldId="285"/>
        </pc:sldMkLst>
        <pc:picChg chg="add mod">
          <ac:chgData name="Roberto Gallardo" userId="49a044883f185952" providerId="LiveId" clId="{FD99D83A-E877-4D41-899E-F6B2F311F511}" dt="2023-03-17T22:28:09.392" v="114" actId="1076"/>
          <ac:picMkLst>
            <pc:docMk/>
            <pc:sldMk cId="1676122233" sldId="285"/>
            <ac:picMk id="7" creationId="{22EB0F37-7F04-7E7B-018E-4CC67ED99E87}"/>
          </ac:picMkLst>
        </pc:picChg>
      </pc:sldChg>
      <pc:sldChg chg="addSp modSp mod">
        <pc:chgData name="Roberto Gallardo" userId="49a044883f185952" providerId="LiveId" clId="{FD99D83A-E877-4D41-899E-F6B2F311F511}" dt="2023-03-17T22:28:31.288" v="126" actId="1076"/>
        <pc:sldMkLst>
          <pc:docMk/>
          <pc:sldMk cId="3100398757" sldId="286"/>
        </pc:sldMkLst>
        <pc:picChg chg="add mod">
          <ac:chgData name="Roberto Gallardo" userId="49a044883f185952" providerId="LiveId" clId="{FD99D83A-E877-4D41-899E-F6B2F311F511}" dt="2023-03-17T22:28:31.288" v="126" actId="1076"/>
          <ac:picMkLst>
            <pc:docMk/>
            <pc:sldMk cId="3100398757" sldId="286"/>
            <ac:picMk id="7" creationId="{507FD5EF-EBC2-4D51-F8D6-8EF4E09E0667}"/>
          </ac:picMkLst>
        </pc:picChg>
      </pc:sldChg>
      <pc:sldChg chg="addSp modSp mod">
        <pc:chgData name="Roberto Gallardo" userId="49a044883f185952" providerId="LiveId" clId="{FD99D83A-E877-4D41-899E-F6B2F311F511}" dt="2023-03-17T22:28:48.945" v="138" actId="1076"/>
        <pc:sldMkLst>
          <pc:docMk/>
          <pc:sldMk cId="1546475425" sldId="287"/>
        </pc:sldMkLst>
        <pc:picChg chg="add mod">
          <ac:chgData name="Roberto Gallardo" userId="49a044883f185952" providerId="LiveId" clId="{FD99D83A-E877-4D41-899E-F6B2F311F511}" dt="2023-03-17T22:28:48.945" v="138" actId="1076"/>
          <ac:picMkLst>
            <pc:docMk/>
            <pc:sldMk cId="1546475425" sldId="287"/>
            <ac:picMk id="7" creationId="{3EE943FD-817D-1B29-A5B7-1DA31A152BF0}"/>
          </ac:picMkLst>
        </pc:picChg>
      </pc:sldChg>
      <pc:sldChg chg="addSp modSp mod">
        <pc:chgData name="Roberto Gallardo" userId="49a044883f185952" providerId="LiveId" clId="{FD99D83A-E877-4D41-899E-F6B2F311F511}" dt="2023-03-17T22:29:21.129" v="161" actId="1076"/>
        <pc:sldMkLst>
          <pc:docMk/>
          <pc:sldMk cId="1380517306" sldId="288"/>
        </pc:sldMkLst>
        <pc:picChg chg="add mod">
          <ac:chgData name="Roberto Gallardo" userId="49a044883f185952" providerId="LiveId" clId="{FD99D83A-E877-4D41-899E-F6B2F311F511}" dt="2023-03-17T22:29:21.129" v="161" actId="1076"/>
          <ac:picMkLst>
            <pc:docMk/>
            <pc:sldMk cId="1380517306" sldId="288"/>
            <ac:picMk id="7" creationId="{E9D83380-2FD9-C3CE-FB08-EF5A0FFA03BB}"/>
          </ac:picMkLst>
        </pc:picChg>
      </pc:sldChg>
      <pc:sldChg chg="addSp modSp mod">
        <pc:chgData name="Roberto Gallardo" userId="49a044883f185952" providerId="LiveId" clId="{FD99D83A-E877-4D41-899E-F6B2F311F511}" dt="2023-03-17T22:29:38.789" v="174" actId="1076"/>
        <pc:sldMkLst>
          <pc:docMk/>
          <pc:sldMk cId="1388671151" sldId="289"/>
        </pc:sldMkLst>
        <pc:picChg chg="add mod">
          <ac:chgData name="Roberto Gallardo" userId="49a044883f185952" providerId="LiveId" clId="{FD99D83A-E877-4D41-899E-F6B2F311F511}" dt="2023-03-17T22:29:38.789" v="174" actId="1076"/>
          <ac:picMkLst>
            <pc:docMk/>
            <pc:sldMk cId="1388671151" sldId="289"/>
            <ac:picMk id="7" creationId="{23A31E78-8156-1F45-A05B-210F2F46A9B5}"/>
          </ac:picMkLst>
        </pc:picChg>
      </pc:sldChg>
      <pc:sldChg chg="addSp modSp mod">
        <pc:chgData name="Roberto Gallardo" userId="49a044883f185952" providerId="LiveId" clId="{FD99D83A-E877-4D41-899E-F6B2F311F511}" dt="2023-03-17T22:30:09.252" v="194" actId="1076"/>
        <pc:sldMkLst>
          <pc:docMk/>
          <pc:sldMk cId="2355376039" sldId="290"/>
        </pc:sldMkLst>
        <pc:picChg chg="add mod">
          <ac:chgData name="Roberto Gallardo" userId="49a044883f185952" providerId="LiveId" clId="{FD99D83A-E877-4D41-899E-F6B2F311F511}" dt="2023-03-17T22:30:09.252" v="194" actId="1076"/>
          <ac:picMkLst>
            <pc:docMk/>
            <pc:sldMk cId="2355376039" sldId="290"/>
            <ac:picMk id="8" creationId="{95079125-231A-C8DB-9C40-AAF4EF298870}"/>
          </ac:picMkLst>
        </pc:picChg>
      </pc:sldChg>
      <pc:sldChg chg="addSp modSp mod">
        <pc:chgData name="Roberto Gallardo" userId="49a044883f185952" providerId="LiveId" clId="{FD99D83A-E877-4D41-899E-F6B2F311F511}" dt="2023-03-17T22:30:25.573" v="207" actId="1076"/>
        <pc:sldMkLst>
          <pc:docMk/>
          <pc:sldMk cId="3757257295" sldId="291"/>
        </pc:sldMkLst>
        <pc:picChg chg="add mod">
          <ac:chgData name="Roberto Gallardo" userId="49a044883f185952" providerId="LiveId" clId="{FD99D83A-E877-4D41-899E-F6B2F311F511}" dt="2023-03-17T22:30:25.573" v="207" actId="1076"/>
          <ac:picMkLst>
            <pc:docMk/>
            <pc:sldMk cId="3757257295" sldId="291"/>
            <ac:picMk id="8" creationId="{C10636AB-1F7D-A75F-BCD3-EF44868D6B81}"/>
          </ac:picMkLst>
        </pc:picChg>
      </pc:sldChg>
      <pc:sldChg chg="addSp modSp mod">
        <pc:chgData name="Roberto Gallardo" userId="49a044883f185952" providerId="LiveId" clId="{FD99D83A-E877-4D41-899E-F6B2F311F511}" dt="2023-03-17T22:29:06.405" v="150" actId="1076"/>
        <pc:sldMkLst>
          <pc:docMk/>
          <pc:sldMk cId="1259856727" sldId="292"/>
        </pc:sldMkLst>
        <pc:picChg chg="add mod">
          <ac:chgData name="Roberto Gallardo" userId="49a044883f185952" providerId="LiveId" clId="{FD99D83A-E877-4D41-899E-F6B2F311F511}" dt="2023-03-17T22:29:06.405" v="150" actId="1076"/>
          <ac:picMkLst>
            <pc:docMk/>
            <pc:sldMk cId="1259856727" sldId="292"/>
            <ac:picMk id="7" creationId="{ED6B8043-17E2-D98C-5F44-927E00367BEB}"/>
          </ac:picMkLst>
        </pc:picChg>
      </pc:sldChg>
      <pc:sldChg chg="addSp modSp mod">
        <pc:chgData name="Roberto Gallardo" userId="49a044883f185952" providerId="LiveId" clId="{FD99D83A-E877-4D41-899E-F6B2F311F511}" dt="2023-03-17T22:26:44.653" v="56" actId="1076"/>
        <pc:sldMkLst>
          <pc:docMk/>
          <pc:sldMk cId="3324519687" sldId="293"/>
        </pc:sldMkLst>
        <pc:picChg chg="add mod">
          <ac:chgData name="Roberto Gallardo" userId="49a044883f185952" providerId="LiveId" clId="{FD99D83A-E877-4D41-899E-F6B2F311F511}" dt="2023-03-17T22:26:44.653" v="56" actId="1076"/>
          <ac:picMkLst>
            <pc:docMk/>
            <pc:sldMk cId="3324519687" sldId="293"/>
            <ac:picMk id="7" creationId="{4B98AFA4-2A70-579A-B567-1D40B7417192}"/>
          </ac:picMkLst>
        </pc:picChg>
      </pc:sldChg>
      <pc:sldChg chg="addSp modSp mod">
        <pc:chgData name="Roberto Gallardo" userId="49a044883f185952" providerId="LiveId" clId="{FD99D83A-E877-4D41-899E-F6B2F311F511}" dt="2023-03-17T22:26:15.517" v="37" actId="1076"/>
        <pc:sldMkLst>
          <pc:docMk/>
          <pc:sldMk cId="3256182630" sldId="295"/>
        </pc:sldMkLst>
        <pc:picChg chg="add mod">
          <ac:chgData name="Roberto Gallardo" userId="49a044883f185952" providerId="LiveId" clId="{FD99D83A-E877-4D41-899E-F6B2F311F511}" dt="2023-03-17T22:26:15.517" v="37" actId="1076"/>
          <ac:picMkLst>
            <pc:docMk/>
            <pc:sldMk cId="3256182630" sldId="295"/>
            <ac:picMk id="7" creationId="{0F6DB93B-5859-6773-87B9-9B532889D46F}"/>
          </ac:picMkLst>
        </pc:picChg>
      </pc:sldChg>
      <pc:sldChg chg="addSp modSp mod">
        <pc:chgData name="Roberto Gallardo" userId="49a044883f185952" providerId="LiveId" clId="{FD99D83A-E877-4D41-899E-F6B2F311F511}" dt="2023-03-17T22:26:29.300" v="45" actId="1076"/>
        <pc:sldMkLst>
          <pc:docMk/>
          <pc:sldMk cId="4057156843" sldId="296"/>
        </pc:sldMkLst>
        <pc:picChg chg="add mod">
          <ac:chgData name="Roberto Gallardo" userId="49a044883f185952" providerId="LiveId" clId="{FD99D83A-E877-4D41-899E-F6B2F311F511}" dt="2023-03-17T22:26:29.300" v="45" actId="1076"/>
          <ac:picMkLst>
            <pc:docMk/>
            <pc:sldMk cId="4057156843" sldId="296"/>
            <ac:picMk id="7" creationId="{4A50C5CE-D367-6C08-82BB-9A7A3E39B3B6}"/>
          </ac:picMkLst>
        </pc:picChg>
      </pc:sldChg>
      <pc:sldChg chg="addSp modSp mod">
        <pc:chgData name="Roberto Gallardo" userId="49a044883f185952" providerId="LiveId" clId="{FD99D83A-E877-4D41-899E-F6B2F311F511}" dt="2023-03-17T22:25:57.632" v="28" actId="1076"/>
        <pc:sldMkLst>
          <pc:docMk/>
          <pc:sldMk cId="2080110827" sldId="297"/>
        </pc:sldMkLst>
        <pc:picChg chg="add mod">
          <ac:chgData name="Roberto Gallardo" userId="49a044883f185952" providerId="LiveId" clId="{FD99D83A-E877-4D41-899E-F6B2F311F511}" dt="2023-03-17T22:25:57.632" v="28" actId="1076"/>
          <ac:picMkLst>
            <pc:docMk/>
            <pc:sldMk cId="2080110827" sldId="297"/>
            <ac:picMk id="6" creationId="{BC8900F3-8892-48C1-C2D9-661C25AD0ECA}"/>
          </ac:picMkLst>
        </pc:picChg>
      </pc:sldChg>
      <pc:sldChg chg="addSp modSp mod">
        <pc:chgData name="Roberto Gallardo" userId="49a044883f185952" providerId="LiveId" clId="{FD99D83A-E877-4D41-899E-F6B2F311F511}" dt="2023-03-17T22:25:40.632" v="18" actId="1076"/>
        <pc:sldMkLst>
          <pc:docMk/>
          <pc:sldMk cId="1532666867" sldId="298"/>
        </pc:sldMkLst>
        <pc:picChg chg="add mod">
          <ac:chgData name="Roberto Gallardo" userId="49a044883f185952" providerId="LiveId" clId="{FD99D83A-E877-4D41-899E-F6B2F311F511}" dt="2023-03-17T22:25:40.632" v="18" actId="1076"/>
          <ac:picMkLst>
            <pc:docMk/>
            <pc:sldMk cId="1532666867" sldId="298"/>
            <ac:picMk id="6" creationId="{77191B83-2E25-AC3F-01B7-2D52D9B5EA19}"/>
          </ac:picMkLst>
        </pc:picChg>
      </pc:sldChg>
      <pc:sldChg chg="addSp modSp mod">
        <pc:chgData name="Roberto Gallardo" userId="49a044883f185952" providerId="LiveId" clId="{FD99D83A-E877-4D41-899E-F6B2F311F511}" dt="2023-03-17T22:29:53.876" v="184" actId="1076"/>
        <pc:sldMkLst>
          <pc:docMk/>
          <pc:sldMk cId="1951376777" sldId="299"/>
        </pc:sldMkLst>
        <pc:picChg chg="add mod">
          <ac:chgData name="Roberto Gallardo" userId="49a044883f185952" providerId="LiveId" clId="{FD99D83A-E877-4D41-899E-F6B2F311F511}" dt="2023-03-17T22:29:53.876" v="184" actId="1076"/>
          <ac:picMkLst>
            <pc:docMk/>
            <pc:sldMk cId="1951376777" sldId="299"/>
            <ac:picMk id="7" creationId="{0501A996-1F1D-350C-BCA5-CC060A1A6575}"/>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85652"/>
          </a:xfrm>
          <a:prstGeom prst="rect">
            <a:avLst/>
          </a:prstGeom>
          <a:noFill/>
        </p:spPr>
        <p:txBody>
          <a:bodyPr wrap="square" rtlCol="0">
            <a:spAutoFit/>
          </a:bodyPr>
          <a:lstStyle/>
          <a:p>
            <a:r>
              <a:rPr lang="en-US" sz="4000" dirty="0">
                <a:solidFill>
                  <a:schemeClr val="bg1"/>
                </a:solidFill>
              </a:rPr>
              <a:t>Edgecombe 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E825D7D-D51C-F3C0-A0ED-50AC375685E5}"/>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A2FE4637-E6D0-AEAB-983A-8B9659C9D50C}"/>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EA390B84-DC40-0D25-DFD2-63E1654DC7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8905" y="1027828"/>
            <a:ext cx="7597989" cy="5372972"/>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77191B83-2E25-AC3F-01B7-2D52D9B5EA1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4554"/>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BC8900F3-8892-48C1-C2D9-661C25AD0E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74770FAF-D8DB-E3AD-EA51-CA8CB370456B}"/>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0F6DB93B-5859-6773-87B9-9B532889D4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1" cy="4526372"/>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7D9195E-8D9D-CBD5-C475-AC3E83090A79}"/>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4A50C5CE-D367-6C08-82BB-9A7A3E39B3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6097"/>
            <a:ext cx="6400800" cy="452637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AC5342CF-10D2-60BA-3132-3C8BBAEF68EE}"/>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4B98AFA4-2A70-579A-B567-1D40B74171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1"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4DF31CB4-5CCC-B9AF-CA87-037C43DF6BB4}"/>
              </a:ext>
            </a:extLst>
          </p:cNvPr>
          <p:cNvPicPr/>
          <p:nvPr/>
        </p:nvPicPr>
        <p:blipFill>
          <a:blip r:embed="rId2"/>
          <a:stretch>
            <a:fillRect/>
          </a:stretch>
        </p:blipFill>
        <p:spPr>
          <a:xfrm>
            <a:off x="152400" y="1783080"/>
            <a:ext cx="5297356" cy="3799114"/>
          </a:xfrm>
          <a:prstGeom prst="rect">
            <a:avLst/>
          </a:prstGeom>
        </p:spPr>
      </p:pic>
      <p:pic>
        <p:nvPicPr>
          <p:cNvPr id="6" name="Picture 5" descr="Diagram&#10;&#10;Description automatically generated">
            <a:extLst>
              <a:ext uri="{FF2B5EF4-FFF2-40B4-BE49-F238E27FC236}">
                <a16:creationId xmlns:a16="http://schemas.microsoft.com/office/drawing/2014/main" id="{C7E3F31A-B2A0-B592-EB7E-F85B51CA0C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2"/>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32EF06F-AC2C-47F8-3279-C34A9C1AE976}"/>
              </a:ext>
            </a:extLst>
          </p:cNvPr>
          <p:cNvPicPr/>
          <p:nvPr/>
        </p:nvPicPr>
        <p:blipFill>
          <a:blip r:embed="rId2"/>
          <a:stretch>
            <a:fillRect/>
          </a:stretch>
        </p:blipFill>
        <p:spPr>
          <a:xfrm>
            <a:off x="152400" y="1791789"/>
            <a:ext cx="5298659" cy="3746863"/>
          </a:xfrm>
          <a:prstGeom prst="rect">
            <a:avLst/>
          </a:prstGeom>
        </p:spPr>
      </p:pic>
      <p:pic>
        <p:nvPicPr>
          <p:cNvPr id="7" name="Picture 6" descr="Diagram, map&#10;&#10;Description automatically generated">
            <a:extLst>
              <a:ext uri="{FF2B5EF4-FFF2-40B4-BE49-F238E27FC236}">
                <a16:creationId xmlns:a16="http://schemas.microsoft.com/office/drawing/2014/main" id="{943DCA32-1B20-06E7-08F1-550BFCC8F9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364C81E2-10B6-2C60-44AD-9964A8701304}"/>
              </a:ext>
            </a:extLst>
          </p:cNvPr>
          <p:cNvPicPr/>
          <p:nvPr/>
        </p:nvPicPr>
        <p:blipFill>
          <a:blip r:embed="rId2"/>
          <a:stretch>
            <a:fillRect/>
          </a:stretch>
        </p:blipFill>
        <p:spPr>
          <a:xfrm>
            <a:off x="152400" y="1779904"/>
            <a:ext cx="5309500" cy="3807823"/>
          </a:xfrm>
          <a:prstGeom prst="rect">
            <a:avLst/>
          </a:prstGeom>
        </p:spPr>
      </p:pic>
      <p:pic>
        <p:nvPicPr>
          <p:cNvPr id="7" name="Picture 6" descr="A picture containing chart&#10;&#10;Description automatically generated">
            <a:extLst>
              <a:ext uri="{FF2B5EF4-FFF2-40B4-BE49-F238E27FC236}">
                <a16:creationId xmlns:a16="http://schemas.microsoft.com/office/drawing/2014/main" id="{6A9C1686-7555-365D-577B-A4B495EC92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7" y="1420628"/>
            <a:ext cx="6400803" cy="4526374"/>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E480BB1-71EC-6079-ABF7-F4BDDFFEA595}"/>
              </a:ext>
            </a:extLst>
          </p:cNvPr>
          <p:cNvPicPr/>
          <p:nvPr/>
        </p:nvPicPr>
        <p:blipFill>
          <a:blip r:embed="rId2"/>
          <a:stretch>
            <a:fillRect/>
          </a:stretch>
        </p:blipFill>
        <p:spPr>
          <a:xfrm>
            <a:off x="152400" y="1783079"/>
            <a:ext cx="5295900" cy="3795173"/>
          </a:xfrm>
          <a:prstGeom prst="rect">
            <a:avLst/>
          </a:prstGeom>
        </p:spPr>
      </p:pic>
      <p:pic>
        <p:nvPicPr>
          <p:cNvPr id="7" name="Picture 6" descr="Diagram, schematic&#10;&#10;Description automatically generated">
            <a:extLst>
              <a:ext uri="{FF2B5EF4-FFF2-40B4-BE49-F238E27FC236}">
                <a16:creationId xmlns:a16="http://schemas.microsoft.com/office/drawing/2014/main" id="{271C4023-FEB7-8DC7-9786-932202643F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1"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ACDB84E-0B25-D855-0DFC-0559394348DD}"/>
              </a:ext>
            </a:extLst>
          </p:cNvPr>
          <p:cNvPicPr/>
          <p:nvPr/>
        </p:nvPicPr>
        <p:blipFill>
          <a:blip r:embed="rId2"/>
          <a:stretch>
            <a:fillRect/>
          </a:stretch>
        </p:blipFill>
        <p:spPr>
          <a:xfrm>
            <a:off x="159053" y="1774372"/>
            <a:ext cx="5289247" cy="3790406"/>
          </a:xfrm>
          <a:prstGeom prst="rect">
            <a:avLst/>
          </a:prstGeom>
        </p:spPr>
      </p:pic>
      <p:pic>
        <p:nvPicPr>
          <p:cNvPr id="7" name="Picture 6" descr="A picture containing diagram&#10;&#10;Description automatically generated">
            <a:extLst>
              <a:ext uri="{FF2B5EF4-FFF2-40B4-BE49-F238E27FC236}">
                <a16:creationId xmlns:a16="http://schemas.microsoft.com/office/drawing/2014/main" id="{22EB0F37-7F04-7E7B-018E-4CC67ED99E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5453" y="1408741"/>
            <a:ext cx="6394147" cy="4521667"/>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34A613C-9B87-EAA8-B47E-794F540A2E7C}"/>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507FD5EF-EBC2-4D51-F8D6-8EF4E09E06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684"/>
            <a:ext cx="6396665" cy="4523446"/>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E23C126-F3A4-A63F-AFFA-D20D5D980941}"/>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3EE943FD-817D-1B29-A5B7-1DA31A152B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4"/>
            <a:ext cx="6400800" cy="4526373"/>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ACFB4AF-3426-56A4-20E2-10438735E506}"/>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ED6B8043-17E2-D98C-5F44-927E00367B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6574"/>
            <a:ext cx="6408945" cy="453213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861B37C-20A8-F757-2666-8106672DAD1F}"/>
              </a:ext>
            </a:extLst>
          </p:cNvPr>
          <p:cNvPicPr/>
          <p:nvPr/>
        </p:nvPicPr>
        <p:blipFill>
          <a:blip r:embed="rId2"/>
          <a:stretch>
            <a:fillRect/>
          </a:stretch>
        </p:blipFill>
        <p:spPr>
          <a:xfrm>
            <a:off x="152400" y="1783082"/>
            <a:ext cx="5295901" cy="3798070"/>
          </a:xfrm>
          <a:prstGeom prst="rect">
            <a:avLst/>
          </a:prstGeom>
        </p:spPr>
      </p:pic>
      <p:pic>
        <p:nvPicPr>
          <p:cNvPr id="7" name="Picture 6" descr="A picture containing radar chart&#10;&#10;Description automatically generated">
            <a:extLst>
              <a:ext uri="{FF2B5EF4-FFF2-40B4-BE49-F238E27FC236}">
                <a16:creationId xmlns:a16="http://schemas.microsoft.com/office/drawing/2014/main" id="{E9D83380-2FD9-C3CE-FB08-EF5A0FFA03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1" cy="452637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DB6D5BE-6B14-DBBB-BA44-745AB5BFBB16}"/>
              </a:ext>
            </a:extLst>
          </p:cNvPr>
          <p:cNvPicPr/>
          <p:nvPr/>
        </p:nvPicPr>
        <p:blipFill>
          <a:blip r:embed="rId2"/>
          <a:stretch>
            <a:fillRect/>
          </a:stretch>
        </p:blipFill>
        <p:spPr>
          <a:xfrm>
            <a:off x="152400" y="1774368"/>
            <a:ext cx="5309500" cy="3807823"/>
          </a:xfrm>
          <a:prstGeom prst="rect">
            <a:avLst/>
          </a:prstGeom>
        </p:spPr>
      </p:pic>
      <p:pic>
        <p:nvPicPr>
          <p:cNvPr id="7" name="Picture 6" descr="Diagram&#10;&#10;Description automatically generated with medium confidence">
            <a:extLst>
              <a:ext uri="{FF2B5EF4-FFF2-40B4-BE49-F238E27FC236}">
                <a16:creationId xmlns:a16="http://schemas.microsoft.com/office/drawing/2014/main" id="{23A31E78-8156-1F45-A05B-210F2F46A9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FDB2A21D-D415-6A30-FC3D-C7CB1D44BA4C}"/>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0501A996-1F1D-350C-BCA5-CC060A1A65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F768C02C-934E-4E3E-DB23-57D901B3EBE9}"/>
              </a:ext>
            </a:extLst>
          </p:cNvPr>
          <p:cNvPicPr/>
          <p:nvPr/>
        </p:nvPicPr>
        <p:blipFill>
          <a:blip r:embed="rId2"/>
          <a:stretch>
            <a:fillRect/>
          </a:stretch>
        </p:blipFill>
        <p:spPr>
          <a:xfrm>
            <a:off x="156412" y="1783318"/>
            <a:ext cx="5291888" cy="3790406"/>
          </a:xfrm>
          <a:prstGeom prst="rect">
            <a:avLst/>
          </a:prstGeom>
        </p:spPr>
      </p:pic>
      <p:pic>
        <p:nvPicPr>
          <p:cNvPr id="8" name="Picture 7" descr="A picture containing diagram&#10;&#10;Description automatically generated">
            <a:extLst>
              <a:ext uri="{FF2B5EF4-FFF2-40B4-BE49-F238E27FC236}">
                <a16:creationId xmlns:a16="http://schemas.microsoft.com/office/drawing/2014/main" id="{95079125-231A-C8DB-9C40-AAF4EF29887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335"/>
            <a:ext cx="6400800" cy="452637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74C45463-264B-4053-6E1E-44B5105343FF}"/>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31EBDF0E-7019-2C0C-A5A4-D2C97938EFB0}"/>
              </a:ext>
            </a:extLst>
          </p:cNvPr>
          <p:cNvPicPr/>
          <p:nvPr/>
        </p:nvPicPr>
        <p:blipFill>
          <a:blip r:embed="rId2"/>
          <a:stretch>
            <a:fillRect/>
          </a:stretch>
        </p:blipFill>
        <p:spPr>
          <a:xfrm>
            <a:off x="161358" y="1777637"/>
            <a:ext cx="5299487" cy="3795849"/>
          </a:xfrm>
          <a:prstGeom prst="rect">
            <a:avLst/>
          </a:prstGeom>
        </p:spPr>
      </p:pic>
      <p:pic>
        <p:nvPicPr>
          <p:cNvPr id="8" name="Picture 7" descr="Radar chart&#10;&#10;Description automatically generated with medium confidence">
            <a:extLst>
              <a:ext uri="{FF2B5EF4-FFF2-40B4-BE49-F238E27FC236}">
                <a16:creationId xmlns:a16="http://schemas.microsoft.com/office/drawing/2014/main" id="{C10636AB-1F7D-A75F-BCD3-EF44868D6B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75"/>
            <a:ext cx="6400800"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2D461BD8-8FBB-9838-25F9-7CEA14FD15E6}"/>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004E86F8-58A6-9F20-9D8F-F2070F5BC428}"/>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F451FE1-C078-C3A9-0199-9E284DF72EC9}"/>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50024"/>
            <a:ext cx="1198148" cy="2573683"/>
            <a:chOff x="2775759" y="1918327"/>
            <a:chExt cx="1198148" cy="2573683"/>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77670"/>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1832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18327"/>
              <a:ext cx="0" cy="8593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70222"/>
              <a:ext cx="0" cy="82178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709770" y="2299637"/>
            <a:ext cx="1198148" cy="2626939"/>
            <a:chOff x="10485745" y="1596107"/>
            <a:chExt cx="1198148" cy="2626939"/>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244449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6.1</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1424" y="4223046"/>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15961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1632331"/>
              <a:ext cx="0" cy="81216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3337049"/>
              <a:ext cx="0" cy="88599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3415"/>
            <a:ext cx="1198148" cy="2256465"/>
            <a:chOff x="2775759" y="2235545"/>
            <a:chExt cx="1198148" cy="2256465"/>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043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3554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35545"/>
              <a:ext cx="0" cy="68489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805498" y="2472978"/>
            <a:ext cx="1198148" cy="2358688"/>
            <a:chOff x="2775759" y="2186119"/>
            <a:chExt cx="1198148" cy="2358688"/>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0339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a:br>
              <a:r>
                <a:rPr lang="en-US" sz="1400" b="1"/>
                <a:t>23.6</a:t>
              </a:r>
              <a:endParaRPr lang="en-US" sz="1400" b="1" dirty="0"/>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186119"/>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186119"/>
              <a:ext cx="0" cy="71727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795949"/>
              <a:ext cx="0" cy="74885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10CC2CE5-3D68-1BCF-6611-C9342FD689B5}"/>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749D6E41-E74B-73C9-69CF-E0D2AEFD594B}"/>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65F9A3E4-EDD0-234B-AC32-69391824250B}"/>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B4348E90-86E5-8511-1351-D9A4E5008A76}"/>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517047B-436E-2F29-58D0-14F64DED8E0C}"/>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4540BCD5-0D2A-C150-C662-09AFF62371FD}"/>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CD33EE6D-8209-6F9C-7798-F2C7CA062143}"/>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9EDC74BF-6E19-842C-0939-745696884C3F}"/>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73</TotalTime>
  <Words>1463</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84</cp:revision>
  <dcterms:created xsi:type="dcterms:W3CDTF">2022-07-04T13:32:28Z</dcterms:created>
  <dcterms:modified xsi:type="dcterms:W3CDTF">2023-03-17T22:30:32Z</dcterms:modified>
</cp:coreProperties>
</file>